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43" r:id="rId5"/>
  </p:sldMasterIdLst>
  <p:notesMasterIdLst>
    <p:notesMasterId r:id="rId20"/>
  </p:notesMasterIdLst>
  <p:handoutMasterIdLst>
    <p:handoutMasterId r:id="rId21"/>
  </p:handoutMasterIdLst>
  <p:sldIdLst>
    <p:sldId id="281" r:id="rId6"/>
    <p:sldId id="267" r:id="rId7"/>
    <p:sldId id="8393" r:id="rId8"/>
    <p:sldId id="8323" r:id="rId9"/>
    <p:sldId id="8311" r:id="rId10"/>
    <p:sldId id="8359" r:id="rId11"/>
    <p:sldId id="8382" r:id="rId12"/>
    <p:sldId id="8392" r:id="rId13"/>
    <p:sldId id="306" r:id="rId14"/>
    <p:sldId id="8386" r:id="rId15"/>
    <p:sldId id="8388" r:id="rId16"/>
    <p:sldId id="8391" r:id="rId17"/>
    <p:sldId id="8390" r:id="rId18"/>
    <p:sldId id="8337" r:id="rId1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ales Dashboard and Elimination" id="{FF31A19D-4405-49D7-8B18-5C423948588A}">
          <p14:sldIdLst>
            <p14:sldId id="281"/>
            <p14:sldId id="267"/>
            <p14:sldId id="8393"/>
            <p14:sldId id="8323"/>
            <p14:sldId id="8311"/>
            <p14:sldId id="8359"/>
            <p14:sldId id="8382"/>
            <p14:sldId id="8392"/>
            <p14:sldId id="306"/>
            <p14:sldId id="8386"/>
            <p14:sldId id="8388"/>
            <p14:sldId id="8391"/>
            <p14:sldId id="8390"/>
            <p14:sldId id="8337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FF"/>
    <a:srgbClr val="203661"/>
    <a:srgbClr val="203662"/>
    <a:srgbClr val="D9DDE4"/>
    <a:srgbClr val="909BB1"/>
    <a:srgbClr val="909BB0"/>
    <a:srgbClr val="C6CAC6"/>
    <a:srgbClr val="8CA6D9"/>
    <a:srgbClr val="C50F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08AEE0-95D7-41D0-853F-AE97E931B534}" v="2" dt="2024-04-02T16:01:07.221"/>
  </p1510:revLst>
</p1510:revInfo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94800"/>
  </p:normalViewPr>
  <p:slideViewPr>
    <p:cSldViewPr snapToGrid="0" snapToObjects="1">
      <p:cViewPr varScale="1">
        <p:scale>
          <a:sx n="58" d="100"/>
          <a:sy n="58" d="100"/>
        </p:scale>
        <p:origin x="1028" y="4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10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 snapToObjects="1">
      <p:cViewPr varScale="1">
        <p:scale>
          <a:sx n="82" d="100"/>
          <a:sy n="82" d="100"/>
        </p:scale>
        <p:origin x="391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ran Ludlow-Rhodes" userId="322a9a81-0587-4539-92ef-cac03421c424" providerId="ADAL" clId="{B608AEE0-95D7-41D0-853F-AE97E931B534}"/>
    <pc:docChg chg="undo custSel delSld modSld delSection modSection">
      <pc:chgData name="Arran Ludlow-Rhodes" userId="322a9a81-0587-4539-92ef-cac03421c424" providerId="ADAL" clId="{B608AEE0-95D7-41D0-853F-AE97E931B534}" dt="2024-04-03T15:33:19.919" v="157" actId="20577"/>
      <pc:docMkLst>
        <pc:docMk/>
      </pc:docMkLst>
      <pc:sldChg chg="del">
        <pc:chgData name="Arran Ludlow-Rhodes" userId="322a9a81-0587-4539-92ef-cac03421c424" providerId="ADAL" clId="{B608AEE0-95D7-41D0-853F-AE97E931B534}" dt="2024-04-02T15:03:30.401" v="0" actId="47"/>
        <pc:sldMkLst>
          <pc:docMk/>
          <pc:sldMk cId="4175562107" sldId="264"/>
        </pc:sldMkLst>
      </pc:sldChg>
      <pc:sldChg chg="addSp delSp mod">
        <pc:chgData name="Arran Ludlow-Rhodes" userId="322a9a81-0587-4539-92ef-cac03421c424" providerId="ADAL" clId="{B608AEE0-95D7-41D0-853F-AE97E931B534}" dt="2024-04-02T16:00:49.372" v="12" actId="22"/>
        <pc:sldMkLst>
          <pc:docMk/>
          <pc:sldMk cId="2111923168" sldId="267"/>
        </pc:sldMkLst>
        <pc:spChg chg="add del">
          <ac:chgData name="Arran Ludlow-Rhodes" userId="322a9a81-0587-4539-92ef-cac03421c424" providerId="ADAL" clId="{B608AEE0-95D7-41D0-853F-AE97E931B534}" dt="2024-04-02T16:00:49.372" v="12" actId="22"/>
          <ac:spMkLst>
            <pc:docMk/>
            <pc:sldMk cId="2111923168" sldId="267"/>
            <ac:spMk id="3" creationId="{02F9CBD7-7B9C-D6DA-5F21-B8177B60A0CD}"/>
          </ac:spMkLst>
        </pc:spChg>
      </pc:sldChg>
      <pc:sldChg chg="modSp mod">
        <pc:chgData name="Arran Ludlow-Rhodes" userId="322a9a81-0587-4539-92ef-cac03421c424" providerId="ADAL" clId="{B608AEE0-95D7-41D0-853F-AE97E931B534}" dt="2024-04-03T15:27:06.960" v="140" actId="20577"/>
        <pc:sldMkLst>
          <pc:docMk/>
          <pc:sldMk cId="249227654" sldId="281"/>
        </pc:sldMkLst>
        <pc:spChg chg="mod">
          <ac:chgData name="Arran Ludlow-Rhodes" userId="322a9a81-0587-4539-92ef-cac03421c424" providerId="ADAL" clId="{B608AEE0-95D7-41D0-853F-AE97E931B534}" dt="2024-04-03T15:27:06.960" v="140" actId="20577"/>
          <ac:spMkLst>
            <pc:docMk/>
            <pc:sldMk cId="249227654" sldId="281"/>
            <ac:spMk id="2" creationId="{CE5ED9AD-4ACC-FA03-5B85-D736E7FBBA93}"/>
          </ac:spMkLst>
        </pc:spChg>
        <pc:spChg chg="mod">
          <ac:chgData name="Arran Ludlow-Rhodes" userId="322a9a81-0587-4539-92ef-cac03421c424" providerId="ADAL" clId="{B608AEE0-95D7-41D0-853F-AE97E931B534}" dt="2024-04-02T16:09:41.126" v="94" actId="20577"/>
          <ac:spMkLst>
            <pc:docMk/>
            <pc:sldMk cId="249227654" sldId="281"/>
            <ac:spMk id="4" creationId="{6280AA98-4568-BC42-9F37-43157805AB04}"/>
          </ac:spMkLst>
        </pc:spChg>
      </pc:sldChg>
      <pc:sldChg chg="modSp mod">
        <pc:chgData name="Arran Ludlow-Rhodes" userId="322a9a81-0587-4539-92ef-cac03421c424" providerId="ADAL" clId="{B608AEE0-95D7-41D0-853F-AE97E931B534}" dt="2024-04-02T16:00:33.659" v="9"/>
        <pc:sldMkLst>
          <pc:docMk/>
          <pc:sldMk cId="4188395346" sldId="306"/>
        </pc:sldMkLst>
        <pc:spChg chg="mod">
          <ac:chgData name="Arran Ludlow-Rhodes" userId="322a9a81-0587-4539-92ef-cac03421c424" providerId="ADAL" clId="{B608AEE0-95D7-41D0-853F-AE97E931B534}" dt="2024-04-02T16:00:33.659" v="9"/>
          <ac:spMkLst>
            <pc:docMk/>
            <pc:sldMk cId="4188395346" sldId="306"/>
            <ac:spMk id="2" creationId="{54EC419C-17E6-4944-BC05-EA33D397F46C}"/>
          </ac:spMkLst>
        </pc:spChg>
      </pc:sldChg>
      <pc:sldChg chg="modSp mod">
        <pc:chgData name="Arran Ludlow-Rhodes" userId="322a9a81-0587-4539-92ef-cac03421c424" providerId="ADAL" clId="{B608AEE0-95D7-41D0-853F-AE97E931B534}" dt="2024-04-03T15:33:19.919" v="157" actId="20577"/>
        <pc:sldMkLst>
          <pc:docMk/>
          <pc:sldMk cId="1439613122" sldId="8311"/>
        </pc:sldMkLst>
        <pc:spChg chg="mod">
          <ac:chgData name="Arran Ludlow-Rhodes" userId="322a9a81-0587-4539-92ef-cac03421c424" providerId="ADAL" clId="{B608AEE0-95D7-41D0-853F-AE97E931B534}" dt="2024-04-03T15:33:19.919" v="157" actId="20577"/>
          <ac:spMkLst>
            <pc:docMk/>
            <pc:sldMk cId="1439613122" sldId="8311"/>
            <ac:spMk id="3" creationId="{211DD9A3-87AD-3345-9274-607BDA99AD16}"/>
          </ac:spMkLst>
        </pc:spChg>
      </pc:sldChg>
      <pc:sldChg chg="modSp mod">
        <pc:chgData name="Arran Ludlow-Rhodes" userId="322a9a81-0587-4539-92ef-cac03421c424" providerId="ADAL" clId="{B608AEE0-95D7-41D0-853F-AE97E931B534}" dt="2024-04-02T16:05:20.074" v="90" actId="20577"/>
        <pc:sldMkLst>
          <pc:docMk/>
          <pc:sldMk cId="1359896064" sldId="8323"/>
        </pc:sldMkLst>
        <pc:spChg chg="mod">
          <ac:chgData name="Arran Ludlow-Rhodes" userId="322a9a81-0587-4539-92ef-cac03421c424" providerId="ADAL" clId="{B608AEE0-95D7-41D0-853F-AE97E931B534}" dt="2024-04-02T16:05:20.074" v="90" actId="20577"/>
          <ac:spMkLst>
            <pc:docMk/>
            <pc:sldMk cId="1359896064" sldId="8323"/>
            <ac:spMk id="4" creationId="{E0A95E15-02AE-B64B-857D-D16416ED60FC}"/>
          </ac:spMkLst>
        </pc:spChg>
      </pc:sldChg>
      <pc:sldChg chg="addSp delSp modSp del mod">
        <pc:chgData name="Arran Ludlow-Rhodes" userId="322a9a81-0587-4539-92ef-cac03421c424" providerId="ADAL" clId="{B608AEE0-95D7-41D0-853F-AE97E931B534}" dt="2024-04-02T16:01:21.898" v="16" actId="47"/>
        <pc:sldMkLst>
          <pc:docMk/>
          <pc:sldMk cId="222382004" sldId="8333"/>
        </pc:sldMkLst>
        <pc:spChg chg="mod">
          <ac:chgData name="Arran Ludlow-Rhodes" userId="322a9a81-0587-4539-92ef-cac03421c424" providerId="ADAL" clId="{B608AEE0-95D7-41D0-853F-AE97E931B534}" dt="2024-04-02T16:01:12.831" v="13" actId="21"/>
          <ac:spMkLst>
            <pc:docMk/>
            <pc:sldMk cId="222382004" sldId="8333"/>
            <ac:spMk id="9" creationId="{C1807333-D2EC-4B32-AA6C-3B9C90349D5C}"/>
          </ac:spMkLst>
        </pc:spChg>
        <pc:picChg chg="add del">
          <ac:chgData name="Arran Ludlow-Rhodes" userId="322a9a81-0587-4539-92ef-cac03421c424" providerId="ADAL" clId="{B608AEE0-95D7-41D0-853F-AE97E931B534}" dt="2024-04-02T15:57:14.870" v="4" actId="478"/>
          <ac:picMkLst>
            <pc:docMk/>
            <pc:sldMk cId="222382004" sldId="8333"/>
            <ac:picMk id="8" creationId="{FA11D6B2-1B3F-3949-9E51-B6DE7D42DECA}"/>
          </ac:picMkLst>
        </pc:picChg>
      </pc:sldChg>
      <pc:sldChg chg="del">
        <pc:chgData name="Arran Ludlow-Rhodes" userId="322a9a81-0587-4539-92ef-cac03421c424" providerId="ADAL" clId="{B608AEE0-95D7-41D0-853F-AE97E931B534}" dt="2024-04-02T15:06:54.424" v="1" actId="47"/>
        <pc:sldMkLst>
          <pc:docMk/>
          <pc:sldMk cId="2623396706" sldId="8383"/>
        </pc:sldMkLst>
      </pc:sldChg>
      <pc:sldChg chg="modSp del mod">
        <pc:chgData name="Arran Ludlow-Rhodes" userId="322a9a81-0587-4539-92ef-cac03421c424" providerId="ADAL" clId="{B608AEE0-95D7-41D0-853F-AE97E931B534}" dt="2024-04-02T16:00:37.904" v="10" actId="47"/>
        <pc:sldMkLst>
          <pc:docMk/>
          <pc:sldMk cId="2667530197" sldId="8385"/>
        </pc:sldMkLst>
        <pc:spChg chg="mod">
          <ac:chgData name="Arran Ludlow-Rhodes" userId="322a9a81-0587-4539-92ef-cac03421c424" providerId="ADAL" clId="{B608AEE0-95D7-41D0-853F-AE97E931B534}" dt="2024-04-02T16:00:27.764" v="7" actId="21"/>
          <ac:spMkLst>
            <pc:docMk/>
            <pc:sldMk cId="2667530197" sldId="8385"/>
            <ac:spMk id="9" creationId="{C1807333-D2EC-4B32-AA6C-3B9C90349D5C}"/>
          </ac:spMkLst>
        </pc:spChg>
      </pc:sldChg>
      <pc:sldChg chg="delSp modSp mod">
        <pc:chgData name="Arran Ludlow-Rhodes" userId="322a9a81-0587-4539-92ef-cac03421c424" providerId="ADAL" clId="{B608AEE0-95D7-41D0-853F-AE97E931B534}" dt="2024-04-02T15:59:13.554" v="6" actId="478"/>
        <pc:sldMkLst>
          <pc:docMk/>
          <pc:sldMk cId="1208745522" sldId="8386"/>
        </pc:sldMkLst>
        <pc:spChg chg="del mod">
          <ac:chgData name="Arran Ludlow-Rhodes" userId="322a9a81-0587-4539-92ef-cac03421c424" providerId="ADAL" clId="{B608AEE0-95D7-41D0-853F-AE97E931B534}" dt="2024-04-02T15:59:13.554" v="6" actId="478"/>
          <ac:spMkLst>
            <pc:docMk/>
            <pc:sldMk cId="1208745522" sldId="8386"/>
            <ac:spMk id="7" creationId="{42EEF4BA-16B8-389F-34C4-E370FA31F781}"/>
          </ac:spMkLst>
        </pc:spChg>
      </pc:sldChg>
      <pc:sldChg chg="modSp mod">
        <pc:chgData name="Arran Ludlow-Rhodes" userId="322a9a81-0587-4539-92ef-cac03421c424" providerId="ADAL" clId="{B608AEE0-95D7-41D0-853F-AE97E931B534}" dt="2024-04-02T16:01:17.647" v="15"/>
        <pc:sldMkLst>
          <pc:docMk/>
          <pc:sldMk cId="1895574865" sldId="8393"/>
        </pc:sldMkLst>
        <pc:spChg chg="mod">
          <ac:chgData name="Arran Ludlow-Rhodes" userId="322a9a81-0587-4539-92ef-cac03421c424" providerId="ADAL" clId="{B608AEE0-95D7-41D0-853F-AE97E931B534}" dt="2024-04-02T16:01:17.647" v="15"/>
          <ac:spMkLst>
            <pc:docMk/>
            <pc:sldMk cId="1895574865" sldId="8393"/>
            <ac:spMk id="2" creationId="{54EC419C-17E6-4944-BC05-EA33D397F46C}"/>
          </ac:spMkLst>
        </pc:spChg>
      </pc:sldChg>
      <pc:sldMasterChg chg="delSldLayout">
        <pc:chgData name="Arran Ludlow-Rhodes" userId="322a9a81-0587-4539-92ef-cac03421c424" providerId="ADAL" clId="{B608AEE0-95D7-41D0-853F-AE97E931B534}" dt="2024-04-02T16:01:21.898" v="16" actId="47"/>
        <pc:sldMasterMkLst>
          <pc:docMk/>
          <pc:sldMasterMk cId="3983845038" sldId="2147483648"/>
        </pc:sldMasterMkLst>
        <pc:sldLayoutChg chg="del">
          <pc:chgData name="Arran Ludlow-Rhodes" userId="322a9a81-0587-4539-92ef-cac03421c424" providerId="ADAL" clId="{B608AEE0-95D7-41D0-853F-AE97E931B534}" dt="2024-04-02T16:01:21.898" v="16" actId="47"/>
          <pc:sldLayoutMkLst>
            <pc:docMk/>
            <pc:sldMasterMk cId="3983845038" sldId="2147483648"/>
            <pc:sldLayoutMk cId="2642637159" sldId="214748381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AAC698C-573B-2645-822C-EB630962E3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D773C3-3F6A-5E47-992F-9E36DA6F77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625986-F7E3-FB4E-BFD2-9CA1D5A44BFD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794A69-5FE4-3E4E-848D-98E71AC7821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734878-53A5-D441-A64C-EF631CD25B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9AAC908-D68A-B146-BE89-B13BCB38E5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5747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20CC4C0-4BEC-6A42-B274-47FC6FF54BFE}" type="datetimeFigureOut">
              <a:rPr lang="en-US" smtClean="0"/>
              <a:t>4/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7BF232A-D0AC-9B4F-A822-05618EDB3A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543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of 2/21/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169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06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70967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44613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043306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00232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65064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2970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125749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24368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941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12576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61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7453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0002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E83E5-2EF2-6A43-863C-E6A58A5E3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615" y="2062501"/>
            <a:ext cx="11269255" cy="411446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15888" indent="0">
              <a:buNone/>
              <a:defRPr b="0" i="1">
                <a:solidFill>
                  <a:schemeClr val="tx1"/>
                </a:solidFill>
                <a:latin typeface="Georgia" panose="02040502050405020303" pitchFamily="18" charset="0"/>
                <a:ea typeface="Roboto Light" panose="02000000000000000000" pitchFamily="2" charset="0"/>
                <a:cs typeface="Arial" panose="020B0604020202020204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A11B6D-85FD-BA46-B0C1-FEA93902B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15" y="1018903"/>
            <a:ext cx="11269255" cy="671785"/>
          </a:xfrm>
        </p:spPr>
        <p:txBody>
          <a:bodyPr lIns="0" tIns="0" rIns="0" bIns="0" anchor="t" anchorCtr="0"/>
          <a:lstStyle>
            <a:lvl1pPr>
              <a:defRPr b="1" i="0">
                <a:solidFill>
                  <a:schemeClr val="accent1"/>
                </a:solidFill>
                <a:latin typeface="Trebuchet MS" panose="020B070302020209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3949077-E0E8-B647-A11F-24C62D2D4087}"/>
              </a:ext>
            </a:extLst>
          </p:cNvPr>
          <p:cNvSpPr txBox="1">
            <a:spLocks/>
          </p:cNvSpPr>
          <p:nvPr userDrawn="1"/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>
                    <a:lumMod val="40000"/>
                    <a:lumOff val="60000"/>
                  </a:schemeClr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B283B9-5D9B-F94B-BF86-B66DD0953C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6362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24000"/>
            <a:ext cx="524256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1524000"/>
            <a:ext cx="524256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1D8CDF-BC66-4B21-B7DD-0E32B8CEC8DF}" type="datetime1">
              <a:rPr lang="en-US" smtClean="0"/>
              <a:t>4/3/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449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1"/>
            <a:ext cx="792480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00" y="1524000"/>
            <a:ext cx="2844800" cy="46482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ACD310-5512-480E-9DB0-53AED6F3BE3E}" type="datetime1">
              <a:rPr lang="en-US" smtClean="0"/>
              <a:t>4/3/2024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931981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8731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9720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4164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995642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45006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13292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9309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6469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5125"/>
            <a:ext cx="10940716" cy="968375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85900"/>
            <a:ext cx="10940716" cy="4686301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28862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2EFE2-7D91-4A65-BD06-7B8FA09E3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3A8CDF-EE6A-42CF-A4FC-0B082B1EA9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1519521E-658F-4AB0-957A-F36400CD66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942677"/>
            <a:ext cx="5367867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BE80806-FD73-4B1B-B77F-444CDA77971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82449" y="1942677"/>
            <a:ext cx="5367867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329804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52714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26222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7564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tx2"/>
              </a:solidFill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tx2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82321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73060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817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217758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99321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2179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1BA7DE7-7087-46DD-8863-8070C10A0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015" y="6400799"/>
            <a:ext cx="2743200" cy="291492"/>
          </a:xfrm>
        </p:spPr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2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88841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5774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404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405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 userDrawn="1"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16478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14168"/>
            <a:ext cx="10924674" cy="4662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 dirty="0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83845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649" r:id="rId2"/>
    <p:sldLayoutId id="2147483749" r:id="rId3"/>
    <p:sldLayoutId id="2147483754" r:id="rId4"/>
    <p:sldLayoutId id="2147483651" r:id="rId5"/>
    <p:sldLayoutId id="2147483755" r:id="rId6"/>
    <p:sldLayoutId id="2147483696" r:id="rId7"/>
    <p:sldLayoutId id="2147483698" r:id="rId8"/>
    <p:sldLayoutId id="2147483713" r:id="rId9"/>
    <p:sldLayoutId id="2147483719" r:id="rId10"/>
    <p:sldLayoutId id="2147483662" r:id="rId11"/>
    <p:sldLayoutId id="2147483753" r:id="rId12"/>
    <p:sldLayoutId id="2147483697" r:id="rId13"/>
    <p:sldLayoutId id="2147483745" r:id="rId14"/>
    <p:sldLayoutId id="2147483747" r:id="rId15"/>
    <p:sldLayoutId id="2147483748" r:id="rId16"/>
    <p:sldLayoutId id="2147483752" r:id="rId17"/>
    <p:sldLayoutId id="2147483738" r:id="rId18"/>
    <p:sldLayoutId id="2147483740" r:id="rId19"/>
    <p:sldLayoutId id="2147483741" r:id="rId20"/>
    <p:sldLayoutId id="2147483742" r:id="rId21"/>
    <p:sldLayoutId id="2147483814" r:id="rId22"/>
    <p:sldLayoutId id="2147483842" r:id="rId23"/>
    <p:sldLayoutId id="2147483869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94503"/>
            <a:ext cx="10924674" cy="4682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 dirty="0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27709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51" r:id="rId6"/>
    <p:sldLayoutId id="2147483852" r:id="rId7"/>
    <p:sldLayoutId id="2147483858" r:id="rId8"/>
    <p:sldLayoutId id="2147483868" r:id="rId9"/>
    <p:sldLayoutId id="2147483854" r:id="rId10"/>
    <p:sldLayoutId id="2147483855" r:id="rId11"/>
    <p:sldLayoutId id="2147483862" r:id="rId12"/>
    <p:sldLayoutId id="2147483856" r:id="rId13"/>
    <p:sldLayoutId id="2147483863" r:id="rId14"/>
    <p:sldLayoutId id="2147483864" r:id="rId15"/>
    <p:sldLayoutId id="2147483865" r:id="rId16"/>
    <p:sldLayoutId id="214748386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tx2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40" userDrawn="1">
          <p15:clr>
            <a:srgbClr val="F26B43"/>
          </p15:clr>
        </p15:guide>
        <p15:guide id="4" pos="384" userDrawn="1">
          <p15:clr>
            <a:srgbClr val="F26B43"/>
          </p15:clr>
        </p15:guide>
        <p15:guide id="5" orient="horz" pos="9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CB466-456C-9D4D-8668-2D079F1A02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shboards and Elimination </a:t>
            </a:r>
            <a:br>
              <a:rPr lang="en-US" dirty="0"/>
            </a:br>
            <a:r>
              <a:rPr lang="en-US" sz="4000" dirty="0"/>
              <a:t>National Hepatitis Elimination Meeting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280AA98-4568-BC42-9F37-43157805AB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rran Ludlow-Rhodes &amp; Matt Milner - Gilead Sciences </a:t>
            </a:r>
            <a:br>
              <a:rPr lang="en-US" dirty="0"/>
            </a:br>
            <a:r>
              <a:rPr lang="en-US" dirty="0"/>
              <a:t>April 2024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5ED9AD-4ACC-FA03-5B85-D736E7FBBA93}"/>
              </a:ext>
            </a:extLst>
          </p:cNvPr>
          <p:cNvSpPr txBox="1"/>
          <p:nvPr/>
        </p:nvSpPr>
        <p:spPr>
          <a:xfrm>
            <a:off x="7838536" y="6072996"/>
            <a:ext cx="3738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Date of preparation: </a:t>
            </a:r>
            <a:r>
              <a:rPr kumimoji="0" lang="en-GB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pril 2024</a:t>
            </a:r>
            <a:endParaRPr kumimoji="0" lang="en-GB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/>
            <a:r>
              <a:rPr lang="en-GB" altLang="en-US" sz="1800" dirty="0">
                <a:solidFill>
                  <a:prstClr val="white"/>
                </a:solidFill>
              </a:rPr>
              <a:t>Job bag no:</a:t>
            </a:r>
            <a:r>
              <a:rPr lang="en-GB" b="0" i="0" dirty="0">
                <a:solidFill>
                  <a:schemeClr val="bg1"/>
                </a:solidFill>
                <a:effectLst/>
                <a:latin typeface="Trebuchet MS" panose="020B0603020202020204" pitchFamily="34" charset="0"/>
              </a:rPr>
              <a:t>UK-UNB-5394</a:t>
            </a:r>
            <a:r>
              <a:rPr lang="en-GB" dirty="0">
                <a:solidFill>
                  <a:schemeClr val="bg1"/>
                </a:solidFill>
                <a:latin typeface="Trebuchet MS" panose="020B060302020202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9227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4B3AF6-82D7-A214-F735-35F019398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106" y="501376"/>
            <a:ext cx="8771620" cy="61178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CB0611F-E24B-F1D9-6698-3CDCBC1C64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720" y="501376"/>
            <a:ext cx="4476006" cy="9219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D354D2-AFC4-B661-C26A-9A589609757D}"/>
              </a:ext>
            </a:extLst>
          </p:cNvPr>
          <p:cNvSpPr txBox="1"/>
          <p:nvPr/>
        </p:nvSpPr>
        <p:spPr>
          <a:xfrm>
            <a:off x="1873624" y="585062"/>
            <a:ext cx="410009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chemeClr val="tx2"/>
                </a:solidFill>
              </a:rPr>
              <a:t>Micro Elimination in Drug Treatment Services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561D93F-2126-66D9-257E-BA30973D3724}"/>
              </a:ext>
            </a:extLst>
          </p:cNvPr>
          <p:cNvSpPr/>
          <p:nvPr/>
        </p:nvSpPr>
        <p:spPr>
          <a:xfrm>
            <a:off x="9027459" y="5641110"/>
            <a:ext cx="1344706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7455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CA1EB8-3FDF-4F66-8082-F0DEBC7DB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015" y="-128385"/>
            <a:ext cx="10972800" cy="987019"/>
          </a:xfrm>
        </p:spPr>
        <p:txBody>
          <a:bodyPr/>
          <a:lstStyle/>
          <a:p>
            <a:pPr algn="ctr"/>
            <a:r>
              <a:rPr lang="en-US" dirty="0"/>
              <a:t>HCV in Drug Treatment Services : Overview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1BD15D-9FDE-F64A-29EE-532867B08E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2615" y="995752"/>
            <a:ext cx="8764849" cy="578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196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CA1EB8-3FDF-4F66-8082-F0DEBC7DB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014" y="-128385"/>
            <a:ext cx="11416209" cy="987019"/>
          </a:xfrm>
        </p:spPr>
        <p:txBody>
          <a:bodyPr/>
          <a:lstStyle/>
          <a:p>
            <a:pPr algn="ctr"/>
            <a:r>
              <a:rPr lang="en-US" dirty="0"/>
              <a:t>HCV in Drug Treatment Services : Micro Elimination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A16BF0-4D1C-03DD-0CA9-4F86E3EEEE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305" y="1035775"/>
            <a:ext cx="9444929" cy="551077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854EF36-7A6C-04D1-8C64-C0C58C199B07}"/>
              </a:ext>
            </a:extLst>
          </p:cNvPr>
          <p:cNvSpPr/>
          <p:nvPr/>
        </p:nvSpPr>
        <p:spPr>
          <a:xfrm>
            <a:off x="3847835" y="3334870"/>
            <a:ext cx="1201271" cy="277905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1089C4-37DA-A280-3007-E0070A31E734}"/>
              </a:ext>
            </a:extLst>
          </p:cNvPr>
          <p:cNvSpPr txBox="1"/>
          <p:nvPr/>
        </p:nvSpPr>
        <p:spPr>
          <a:xfrm rot="16200000">
            <a:off x="3518646" y="4401234"/>
            <a:ext cx="1712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</a:rPr>
              <a:t>Data</a:t>
            </a:r>
            <a:r>
              <a:rPr lang="en-GB" b="1" dirty="0"/>
              <a:t> </a:t>
            </a:r>
            <a:r>
              <a:rPr lang="en-GB" b="1" dirty="0">
                <a:solidFill>
                  <a:schemeClr val="tx2"/>
                </a:solidFill>
              </a:rPr>
              <a:t>Anonymised</a:t>
            </a:r>
            <a:r>
              <a:rPr lang="en-GB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43969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99CBDD-E003-F656-CA0A-D4C7B6A82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Welsh Drug Treatment Service Dashboard?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9111107-E262-6EA8-4FB8-83C71DBACC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444986"/>
              </p:ext>
            </p:extLst>
          </p:nvPr>
        </p:nvGraphicFramePr>
        <p:xfrm>
          <a:off x="577516" y="2659459"/>
          <a:ext cx="10925171" cy="1148001"/>
        </p:xfrm>
        <a:graphic>
          <a:graphicData uri="http://schemas.openxmlformats.org/drawingml/2006/table">
            <a:tbl>
              <a:tblPr/>
              <a:tblGrid>
                <a:gridCol w="631264">
                  <a:extLst>
                    <a:ext uri="{9D8B030D-6E8A-4147-A177-3AD203B41FA5}">
                      <a16:colId xmlns:a16="http://schemas.microsoft.com/office/drawing/2014/main" val="4059682756"/>
                    </a:ext>
                  </a:extLst>
                </a:gridCol>
                <a:gridCol w="824947">
                  <a:extLst>
                    <a:ext uri="{9D8B030D-6E8A-4147-A177-3AD203B41FA5}">
                      <a16:colId xmlns:a16="http://schemas.microsoft.com/office/drawing/2014/main" val="3175582138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34562163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1479707944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1224980651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963810254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28083772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093578494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438482433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2017567632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209455608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791676320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218466054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530078471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821881114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3350948490"/>
                    </a:ext>
                  </a:extLst>
                </a:gridCol>
                <a:gridCol w="631264">
                  <a:extLst>
                    <a:ext uri="{9D8B030D-6E8A-4147-A177-3AD203B41FA5}">
                      <a16:colId xmlns:a16="http://schemas.microsoft.com/office/drawing/2014/main" val="1593654994"/>
                    </a:ext>
                  </a:extLst>
                </a:gridCol>
              </a:tblGrid>
              <a:tr h="287001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 I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rname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der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.O.B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of test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 re-test require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Booster Receive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Booster Receive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Booster Receive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accinated Hep B Y/N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i-HCV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V PCR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4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erred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atment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448362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887281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601603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377859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1038849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097471"/>
                  </a:ext>
                </a:extLst>
              </a:tr>
              <a:tr h="143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75" marR="7175" marT="71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632344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4B9989F9-E51B-705C-137D-B6B38D527636}"/>
              </a:ext>
            </a:extLst>
          </p:cNvPr>
          <p:cNvSpPr/>
          <p:nvPr/>
        </p:nvSpPr>
        <p:spPr>
          <a:xfrm>
            <a:off x="5095336" y="6400799"/>
            <a:ext cx="2219864" cy="29149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5012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E40F633-0CEA-419A-97ED-30B95AA629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0CC4F0-C713-41A7-93C1-8566E3E80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311212-BB59-4BAE-ACF5-47A5E43A9E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87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1852602-9FFF-4631-9D97-9A5A2208CF14}"/>
              </a:ext>
            </a:extLst>
          </p:cNvPr>
          <p:cNvSpPr txBox="1"/>
          <p:nvPr/>
        </p:nvSpPr>
        <p:spPr>
          <a:xfrm>
            <a:off x="903248" y="2921169"/>
            <a:ext cx="1116608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51800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D473A96-B685-764E-92B7-00CA7BA969D8}"/>
              </a:ext>
            </a:extLst>
          </p:cNvPr>
          <p:cNvSpPr txBox="1"/>
          <p:nvPr/>
        </p:nvSpPr>
        <p:spPr>
          <a:xfrm>
            <a:off x="676714" y="745068"/>
            <a:ext cx="6263535" cy="60960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600" b="1">
                <a:solidFill>
                  <a:srgbClr val="203662"/>
                </a:solidFill>
                <a:latin typeface="Trebuchet MS" panose="020B0703020202090204" pitchFamily="34" charset="0"/>
              </a:rPr>
              <a:t>Disclosur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9CC43C-7FB0-5548-8C29-63E0D4E809D0}"/>
              </a:ext>
            </a:extLst>
          </p:cNvPr>
          <p:cNvSpPr txBox="1"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Aft>
                <a:spcPts val="1800"/>
              </a:spcAft>
              <a:buClr>
                <a:srgbClr val="C30F3C"/>
              </a:buClr>
              <a:tabLst>
                <a:tab pos="1062012" algn="l"/>
              </a:tabLst>
            </a:pPr>
            <a:r>
              <a:rPr lang="en-US" sz="2000" b="1">
                <a:solidFill>
                  <a:srgbClr val="C30F3C"/>
                </a:solidFill>
                <a:latin typeface="Trebuchet MS" panose="020B0703020202090204" pitchFamily="34" charset="0"/>
              </a:rPr>
              <a:t>Employees of Gilead Sciences</a:t>
            </a:r>
            <a:endParaRPr lang="en-US" sz="2000">
              <a:solidFill>
                <a:srgbClr val="C30F3C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923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C419C-17E6-4944-BC05-EA33D397F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M Prisons </a:t>
            </a:r>
            <a:br>
              <a:rPr kumimoji="0" lang="en-US" sz="7200" b="1" i="0" u="none" strike="noStrike" kern="16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574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son Micro-Elimination definition 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Welsh Health Circular :-</a:t>
            </a:r>
          </a:p>
          <a:p>
            <a:pPr lvl="1"/>
            <a:endParaRPr lang="en-US" dirty="0"/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/>
              <a:t>100% of the prison population being offered a hepatitis C test.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/>
              <a:t>90% of those having then been tested.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/>
              <a:t>90% of those who been diagnosed with hepatitis C having started treatment.</a:t>
            </a:r>
          </a:p>
          <a:p>
            <a:pPr marL="117475" lvl="2" indent="0">
              <a:buNone/>
            </a:pPr>
            <a:endParaRPr lang="en-GB" dirty="0"/>
          </a:p>
          <a:p>
            <a:pPr marL="117475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1684" y="5966718"/>
            <a:ext cx="6498010" cy="702457"/>
          </a:xfrm>
        </p:spPr>
        <p:txBody>
          <a:bodyPr/>
          <a:lstStyle/>
          <a:p>
            <a:r>
              <a:rPr lang="en-US" dirty="0"/>
              <a:t>Welsh Health Circular, </a:t>
            </a:r>
            <a:r>
              <a:rPr lang="en-GB" dirty="0"/>
              <a:t>Eliminating hepatitis (B and C) as a public health threat in Wales – Actions for 2022-23 and 2023-24.</a:t>
            </a:r>
            <a:r>
              <a:rPr lang="en-US" dirty="0"/>
              <a:t> January 2023 </a:t>
            </a:r>
          </a:p>
        </p:txBody>
      </p:sp>
    </p:spTree>
    <p:extLst>
      <p:ext uri="{BB962C8B-B14F-4D97-AF65-F5344CB8AC3E}">
        <p14:creationId xmlns:p14="http://schemas.microsoft.com/office/powerpoint/2010/main" val="13598960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8817A0-8BFF-1F40-A1DF-55982A9E5D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Captur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A71D61-79E5-B841-BAC2-2AEE9BA8D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1DD9A3-87AD-3345-9274-607BDA99AD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Data extracted directly from </a:t>
            </a:r>
            <a:r>
              <a:rPr lang="en-US" dirty="0" err="1"/>
              <a:t>SystmOne</a:t>
            </a:r>
            <a:r>
              <a:rPr lang="en-US" dirty="0"/>
              <a:t> (prison electronic health record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Reports produce data based read cod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“Near Live” data </a:t>
            </a:r>
            <a:r>
              <a:rPr lang="en-US"/>
              <a:t>review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613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7AC5E249-501A-87A6-84BA-7DDCDDE9F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2B662B-CBF0-B560-F043-CDE6C158FFF1}"/>
              </a:ext>
            </a:extLst>
          </p:cNvPr>
          <p:cNvSpPr txBox="1"/>
          <p:nvPr/>
        </p:nvSpPr>
        <p:spPr>
          <a:xfrm>
            <a:off x="4901609" y="2477386"/>
            <a:ext cx="5399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HMP Micro Elimination 1 examp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A9742A-07D5-90A9-2D24-76EA6035311D}"/>
              </a:ext>
            </a:extLst>
          </p:cNvPr>
          <p:cNvSpPr/>
          <p:nvPr/>
        </p:nvSpPr>
        <p:spPr>
          <a:xfrm>
            <a:off x="10005238" y="3561907"/>
            <a:ext cx="691116" cy="169057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1537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CA1EB8-3FDF-4F66-8082-F0DEBC7DB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0498732-DC1E-472E-89A6-56253D12201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468280-28D4-4EDA-0364-04A0FB3D9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D4A3447-9E15-EE80-A724-2F26196ACBA3}"/>
              </a:ext>
            </a:extLst>
          </p:cNvPr>
          <p:cNvSpPr/>
          <p:nvPr/>
        </p:nvSpPr>
        <p:spPr>
          <a:xfrm>
            <a:off x="11079126" y="3763926"/>
            <a:ext cx="691116" cy="169057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2DB79-539C-D926-8E95-90318B0139EA}"/>
              </a:ext>
            </a:extLst>
          </p:cNvPr>
          <p:cNvSpPr txBox="1"/>
          <p:nvPr/>
        </p:nvSpPr>
        <p:spPr>
          <a:xfrm>
            <a:off x="4901609" y="2477386"/>
            <a:ext cx="5399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HMP Micro Elimination 2 example</a:t>
            </a:r>
          </a:p>
        </p:txBody>
      </p:sp>
    </p:spTree>
    <p:extLst>
      <p:ext uri="{BB962C8B-B14F-4D97-AF65-F5344CB8AC3E}">
        <p14:creationId xmlns:p14="http://schemas.microsoft.com/office/powerpoint/2010/main" val="738255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CA1EB8-3FDF-4F66-8082-F0DEBC7DB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00B55-C027-405B-A7D1-FF7C112F3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0498732-DC1E-472E-89A6-56253D12201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2BC0A0-12C6-4894-6A6E-E4B801BD5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10939C5-28A6-7658-36A1-398274C95029}"/>
              </a:ext>
            </a:extLst>
          </p:cNvPr>
          <p:cNvSpPr/>
          <p:nvPr/>
        </p:nvSpPr>
        <p:spPr>
          <a:xfrm>
            <a:off x="11180042" y="3668233"/>
            <a:ext cx="691116" cy="169057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7FFCA9-0E10-C4C8-4EA5-CC2BF35C809D}"/>
              </a:ext>
            </a:extLst>
          </p:cNvPr>
          <p:cNvSpPr txBox="1"/>
          <p:nvPr/>
        </p:nvSpPr>
        <p:spPr>
          <a:xfrm>
            <a:off x="4901609" y="2477386"/>
            <a:ext cx="5399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HMP Micro Elimination 3 example</a:t>
            </a:r>
          </a:p>
        </p:txBody>
      </p:sp>
    </p:spTree>
    <p:extLst>
      <p:ext uri="{BB962C8B-B14F-4D97-AF65-F5344CB8AC3E}">
        <p14:creationId xmlns:p14="http://schemas.microsoft.com/office/powerpoint/2010/main" val="1462957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C419C-17E6-4944-BC05-EA33D397F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Drug Treatment Services </a:t>
            </a:r>
            <a:br>
              <a:rPr kumimoji="0" lang="en-US" sz="7200" b="1" i="0" u="none" strike="noStrike" kern="16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395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heme/theme1.xml><?xml version="1.0" encoding="utf-8"?>
<a:theme xmlns:a="http://schemas.openxmlformats.org/drawingml/2006/main" name="Creating Possibl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reating Possible_Red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D053D06D3EEF498E1D6603D9F64235" ma:contentTypeVersion="16" ma:contentTypeDescription="Create a new document." ma:contentTypeScope="" ma:versionID="6c0ccdb867515f29bb5de8f53a0fb588">
  <xsd:schema xmlns:xsd="http://www.w3.org/2001/XMLSchema" xmlns:xs="http://www.w3.org/2001/XMLSchema" xmlns:p="http://schemas.microsoft.com/office/2006/metadata/properties" xmlns:ns1="http://schemas.microsoft.com/sharepoint/v3" xmlns:ns2="d533af8e-90fc-435e-9c6f-bd5f3a7a0686" xmlns:ns3="343c576e-92ca-4e81-9a49-c8620aa7a76a" targetNamespace="http://schemas.microsoft.com/office/2006/metadata/properties" ma:root="true" ma:fieldsID="7d28e8fab493ec77995aa479876d7ae5" ns1:_="" ns2:_="" ns3:_="">
    <xsd:import namespace="http://schemas.microsoft.com/sharepoint/v3"/>
    <xsd:import namespace="d533af8e-90fc-435e-9c6f-bd5f3a7a0686"/>
    <xsd:import namespace="343c576e-92ca-4e81-9a49-c8620aa7a76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33af8e-90fc-435e-9c6f-bd5f3a7a06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efaef41-70dc-4075-804e-d4e4dbdaee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3c576e-92ca-4e81-9a49-c8620aa7a76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11a023f4-1925-4445-8afb-3af4fddacb3f}" ma:internalName="TaxCatchAll" ma:showField="CatchAllData" ma:web="343c576e-92ca-4e81-9a49-c8620aa7a76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d533af8e-90fc-435e-9c6f-bd5f3a7a0686">
      <Terms xmlns="http://schemas.microsoft.com/office/infopath/2007/PartnerControls"/>
    </lcf76f155ced4ddcb4097134ff3c332f>
    <TaxCatchAll xmlns="343c576e-92ca-4e81-9a49-c8620aa7a76a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FC5436-8EEA-4DF7-B374-C097121DF4ED}"/>
</file>

<file path=customXml/itemProps2.xml><?xml version="1.0" encoding="utf-8"?>
<ds:datastoreItem xmlns:ds="http://schemas.openxmlformats.org/officeDocument/2006/customXml" ds:itemID="{683EA792-2B25-4630-9A46-AB0FB24D86C4}">
  <ds:schemaRefs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c86e5acf-a105-480d-b069-43600dfba258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E0A6E41-F5B9-4468-8C2E-7C2A7450C3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242</TotalTime>
  <Words>338</Words>
  <Application>Microsoft Office PowerPoint</Application>
  <PresentationFormat>Widescreen</PresentationFormat>
  <Paragraphs>158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pple Symbols</vt:lpstr>
      <vt:lpstr>Arial</vt:lpstr>
      <vt:lpstr>Calibri</vt:lpstr>
      <vt:lpstr>Georgia</vt:lpstr>
      <vt:lpstr>Proxima Nova Regular</vt:lpstr>
      <vt:lpstr>Trebuchet MS</vt:lpstr>
      <vt:lpstr>Trebuchet MS Regular</vt:lpstr>
      <vt:lpstr>Wingdings</vt:lpstr>
      <vt:lpstr>Creating Possible</vt:lpstr>
      <vt:lpstr>1_Creating Possible_Red</vt:lpstr>
      <vt:lpstr>think-cell Slide</vt:lpstr>
      <vt:lpstr>Dashboards and Elimination  National Hepatitis Elimination Meeting</vt:lpstr>
      <vt:lpstr>PowerPoint Presentation</vt:lpstr>
      <vt:lpstr>HM Prisons  </vt:lpstr>
      <vt:lpstr>Prison Micro-Elimination definition </vt:lpstr>
      <vt:lpstr>PowerPoint Presentation</vt:lpstr>
      <vt:lpstr>PowerPoint Presentation</vt:lpstr>
      <vt:lpstr>PowerPoint Presentation</vt:lpstr>
      <vt:lpstr>PowerPoint Presentation</vt:lpstr>
      <vt:lpstr>Drug Treatment Services  </vt:lpstr>
      <vt:lpstr>PowerPoint Presentation</vt:lpstr>
      <vt:lpstr>HCV in Drug Treatment Services : Overview </vt:lpstr>
      <vt:lpstr>HCV in Drug Treatment Services : Micro Elimination  </vt:lpstr>
      <vt:lpstr>A Welsh Drug Treatment Service Dashboard?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an Lavigne</dc:creator>
  <cp:lastModifiedBy>Arran Ludlow-Rhodes</cp:lastModifiedBy>
  <cp:revision>329</cp:revision>
  <cp:lastPrinted>2020-02-21T21:57:10Z</cp:lastPrinted>
  <dcterms:created xsi:type="dcterms:W3CDTF">2018-05-31T15:44:29Z</dcterms:created>
  <dcterms:modified xsi:type="dcterms:W3CDTF">2024-04-03T15:3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D053D06D3EEF498E1D6603D9F64235</vt:lpwstr>
  </property>
  <property fmtid="{D5CDD505-2E9C-101B-9397-08002B2CF9AE}" pid="3" name="Template">
    <vt:lpwstr>PowerPoint Chart Suggestions</vt:lpwstr>
  </property>
  <property fmtid="{D5CDD505-2E9C-101B-9397-08002B2CF9AE}" pid="4" name="Category">
    <vt:lpwstr>Templates</vt:lpwstr>
  </property>
  <property fmtid="{D5CDD505-2E9C-101B-9397-08002B2CF9AE}" pid="5" name="MSIP_Label_418c1083-8924-401d-97ae-40f5eed0fcd8_Enabled">
    <vt:lpwstr>true</vt:lpwstr>
  </property>
  <property fmtid="{D5CDD505-2E9C-101B-9397-08002B2CF9AE}" pid="6" name="MSIP_Label_418c1083-8924-401d-97ae-40f5eed0fcd8_SetDate">
    <vt:lpwstr>2022-05-06T12:03:04Z</vt:lpwstr>
  </property>
  <property fmtid="{D5CDD505-2E9C-101B-9397-08002B2CF9AE}" pid="7" name="MSIP_Label_418c1083-8924-401d-97ae-40f5eed0fcd8_Method">
    <vt:lpwstr>Standard</vt:lpwstr>
  </property>
  <property fmtid="{D5CDD505-2E9C-101B-9397-08002B2CF9AE}" pid="8" name="MSIP_Label_418c1083-8924-401d-97ae-40f5eed0fcd8_Name">
    <vt:lpwstr>418c1083-8924-401d-97ae-40f5eed0fcd8</vt:lpwstr>
  </property>
  <property fmtid="{D5CDD505-2E9C-101B-9397-08002B2CF9AE}" pid="9" name="MSIP_Label_418c1083-8924-401d-97ae-40f5eed0fcd8_SiteId">
    <vt:lpwstr>a5a8bcaa-3292-41e6-b735-5e8b21f4dbfd</vt:lpwstr>
  </property>
  <property fmtid="{D5CDD505-2E9C-101B-9397-08002B2CF9AE}" pid="10" name="MSIP_Label_418c1083-8924-401d-97ae-40f5eed0fcd8_ActionId">
    <vt:lpwstr>13dd3779-f757-4cca-8790-310eacb86e97</vt:lpwstr>
  </property>
  <property fmtid="{D5CDD505-2E9C-101B-9397-08002B2CF9AE}" pid="11" name="MSIP_Label_418c1083-8924-401d-97ae-40f5eed0fcd8_ContentBits">
    <vt:lpwstr>0</vt:lpwstr>
  </property>
</Properties>
</file>